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106" d="100"/>
          <a:sy n="106" d="100"/>
        </p:scale>
        <p:origin x="1158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/>
              <a:t>Asıl alt başlık stil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7.06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II. TOPLANTISI       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4 Temmuz 2024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ERŞEMBE</a:t>
            </a: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4342598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Tut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4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Parasal</a:t>
                      </a:r>
                      <a:r>
                        <a:rPr lang="tr-TR" sz="1100" b="1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Y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24Yılı Harcamas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Aşamasındaki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Kal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4 YILI 3. TOPLANTISI)</a:t>
            </a: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Projeleri İzleme Raporu</a:t>
            </a:r>
          </a:p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4 YILI 3. TOPLANTISI )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004261"/>
              </p:ext>
            </p:extLst>
          </p:nvPr>
        </p:nvGraphicFramePr>
        <p:xfrm>
          <a:off x="107500" y="879429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</a:p>
                    <a:p>
                      <a:pPr algn="ctr" fontAlgn="ctr"/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7251663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Yeri (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Bedeli (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Harcamaları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 Yıl İçi Harcama </a:t>
                      </a:r>
                      <a:r>
                        <a:rPr lang="tr-TR" sz="1050" b="1" u="none" strike="noStrike" kern="1200" dirty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2024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>
                          <a:effectLst/>
                        </a:rPr>
                        <a:t>Yılı Ödeneği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 ve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4</a:t>
            </a:r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Sektörler ve Alt Sektörleri</a:t>
            </a: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idroelektr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ent İçi 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5</a:t>
            </a:r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İçin 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Personel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Kurum Görevlisinin</a:t>
                      </a:r>
                      <a:r>
                        <a:rPr lang="tr-TR" sz="10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6</a:t>
            </a:r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1</TotalTime>
  <Words>749</Words>
  <Application>Microsoft Office PowerPoint</Application>
  <PresentationFormat>Ekran Gösterisi (4:3)</PresentationFormat>
  <Paragraphs>32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Ülkü PAŞAOSMANOĞLU</cp:lastModifiedBy>
  <cp:revision>244</cp:revision>
  <cp:lastPrinted>2017-09-05T10:25:42Z</cp:lastPrinted>
  <dcterms:created xsi:type="dcterms:W3CDTF">2013-12-10T10:55:21Z</dcterms:created>
  <dcterms:modified xsi:type="dcterms:W3CDTF">2024-06-07T12:41:36Z</dcterms:modified>
</cp:coreProperties>
</file>